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02.xml" ContentType="application/vnd.openxmlformats-officedocument.presentationml.slide+xml"/>
  <Override PartName="/ppt/tags/tag932.xml" ContentType="application/vnd.openxmlformats-officedocument.presentationml.tags+xml"/>
  <Override PartName="/ppt/tags/tag937.xml" ContentType="application/vnd.openxmlformats-officedocument.presentationml.tags+xml"/>
  <Override PartName="/ppt/tags/tag942.xml" ContentType="application/vnd.openxmlformats-officedocument.presentationml.tags+xml"/>
  <Override PartName="/ppt/tags/tag927.xml" ContentType="application/vnd.openxmlformats-officedocument.presentationml.tags+xml"/>
  <Override PartName="/ppt/tags/tag945.xml" ContentType="application/vnd.openxmlformats-officedocument.presentationml.tags+xml"/>
  <Override PartName="/ppt/tags/tag931.xml" ContentType="application/vnd.openxmlformats-officedocument.presentationml.tags+xml"/>
  <Override PartName="/ppt/tags/tag936.xml" ContentType="application/vnd.openxmlformats-officedocument.presentationml.tags+xml"/>
  <Override PartName="/ppt/tags/tag941.xml" ContentType="application/vnd.openxmlformats-officedocument.presentationml.tags+xml"/>
  <Override PartName="/ppt/notesSlides/notesSlide20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926.xml" ContentType="application/vnd.openxmlformats-officedocument.presentationml.tags+xml"/>
  <Override PartName="/ppt/tags/tag940.xml" ContentType="application/vnd.openxmlformats-officedocument.presentationml.tags+xml"/>
  <Override PartName="/ppt/tags/tag944.xml" ContentType="application/vnd.openxmlformats-officedocument.presentationml.tags+xml"/>
  <Override PartName="/ppt/tags/tag930.xml" ContentType="application/vnd.openxmlformats-officedocument.presentationml.tags+xml"/>
  <Override PartName="/ppt/tags/tag93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929.xml" ContentType="application/vnd.openxmlformats-officedocument.presentationml.tags+xml"/>
  <Override PartName="/ppt/tags/tag939.xml" ContentType="application/vnd.openxmlformats-officedocument.presentationml.tags+xml"/>
  <Override PartName="/ppt/tags/tag947.xml" ContentType="application/vnd.openxmlformats-officedocument.presentationml.tags+xml"/>
  <Override PartName="/ppt/charts/chart31.xml" ContentType="application/vnd.openxmlformats-officedocument.drawingml.chart+xml"/>
  <Override PartName="/ppt/tags/tag934.xml" ContentType="application/vnd.openxmlformats-officedocument.presentationml.tags+xml"/>
  <Override PartName="/ppt/tags/tag943.xml" ContentType="application/vnd.openxmlformats-officedocument.presentationml.tags+xml"/>
  <Override PartName="/ppt/tags/tag928.xml" ContentType="application/vnd.openxmlformats-officedocument.presentationml.tags+xml"/>
  <Override PartName="/ppt/tags/tag933.xml" ContentType="application/vnd.openxmlformats-officedocument.presentationml.tags+xml"/>
  <Override PartName="/ppt/tags/tag938.xml" ContentType="application/vnd.openxmlformats-officedocument.presentationml.tags+xml"/>
  <Override PartName="/ppt/tags/tag946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49" r:id="rId20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02.xml" Id="rId205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31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0.xlsb" Id="rId1" /></Relationships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723258096172712E-2"/>
          <c:y val="8.2443400256300731E-2"/>
          <c:w val="0.84514229636898919"/>
          <c:h val="0.835113199487398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79-43D8-9BB0-88AA90C400C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B79-43D8-9BB0-88AA90C400C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B79-43D8-9BB0-88AA90C400C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B79-43D8-9BB0-88AA90C400C2}"/>
                </c:ext>
              </c:extLst>
            </c:dLbl>
            <c:dLbl>
              <c:idx val="4"/>
              <c:layout>
                <c:manualLayout>
                  <c:x val="0"/>
                  <c:y val="-4.2716787697565144E-4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B79-43D8-9BB0-88AA90C400C2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B79-43D8-9BB0-88AA90C400C2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B79-43D8-9BB0-88AA90C400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23</c:v>
                </c:pt>
                <c:pt idx="1">
                  <c:v>330</c:v>
                </c:pt>
                <c:pt idx="2">
                  <c:v>350</c:v>
                </c:pt>
                <c:pt idx="3">
                  <c:v>360</c:v>
                </c:pt>
                <c:pt idx="4">
                  <c:v>377</c:v>
                </c:pt>
                <c:pt idx="5">
                  <c:v>380</c:v>
                </c:pt>
                <c:pt idx="7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B79-43D8-9BB0-88AA90C40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9858240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B79-43D8-9BB0-88AA90C400C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B79-43D8-9BB0-88AA90C400C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B79-43D8-9BB0-88AA90C400C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B79-43D8-9BB0-88AA90C400C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B79-43D8-9BB0-88AA90C400C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B79-43D8-9BB0-88AA90C400C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B79-43D8-9BB0-88AA90C400C2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36</c:v>
                </c:pt>
                <c:pt idx="1">
                  <c:v>38</c:v>
                </c:pt>
                <c:pt idx="2">
                  <c:v>39</c:v>
                </c:pt>
                <c:pt idx="3">
                  <c:v>40</c:v>
                </c:pt>
                <c:pt idx="4">
                  <c:v>42.22</c:v>
                </c:pt>
                <c:pt idx="5">
                  <c:v>41.63</c:v>
                </c:pt>
                <c:pt idx="6">
                  <c:v>49.984999999999999</c:v>
                </c:pt>
                <c:pt idx="7">
                  <c:v>5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EB79-43D8-9BB0-88AA90C40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29858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9858240"/>
        <c:crosses val="min"/>
        <c:crossBetween val="between"/>
        <c:majorUnit val="1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0&quot;k&quot;;&quot;-&quot;0&quot;k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2.xml.rels>&#65279;<?xml version="1.0" encoding="utf-8"?><Relationships xmlns="http://schemas.openxmlformats.org/package/2006/relationships"><Relationship Type="http://schemas.openxmlformats.org/officeDocument/2006/relationships/slide" Target="/ppt/slides/slide202.xml" Id="rId2" /><Relationship Type="http://schemas.openxmlformats.org/officeDocument/2006/relationships/notesMaster" Target="/ppt/notesMasters/notesMaster1.xml" Id="rId1" /></Relationships>
</file>

<file path=ppt/notesSlides/notesSlide2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06932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2.xml.rels>&#65279;<?xml version="1.0" encoding="utf-8"?><Relationships xmlns="http://schemas.openxmlformats.org/package/2006/relationships"><Relationship Type="http://schemas.openxmlformats.org/officeDocument/2006/relationships/tags" Target="/ppt/tags/tag932.xml" Id="rId8" /><Relationship Type="http://schemas.openxmlformats.org/officeDocument/2006/relationships/tags" Target="/ppt/tags/tag937.xml" Id="rId13" /><Relationship Type="http://schemas.openxmlformats.org/officeDocument/2006/relationships/tags" Target="/ppt/tags/tag942.xml" Id="rId18" /><Relationship Type="http://schemas.openxmlformats.org/officeDocument/2006/relationships/oleObject" Target="/ppt/embeddings/oleObject206.bin" Id="rId26" /><Relationship Type="http://schemas.openxmlformats.org/officeDocument/2006/relationships/tags" Target="/ppt/tags/tag927.xml" Id="rId3" /><Relationship Type="http://schemas.openxmlformats.org/officeDocument/2006/relationships/tags" Target="/ppt/tags/tag945.xml" Id="rId21" /><Relationship Type="http://schemas.openxmlformats.org/officeDocument/2006/relationships/tags" Target="/ppt/tags/tag931.xml" Id="rId7" /><Relationship Type="http://schemas.openxmlformats.org/officeDocument/2006/relationships/tags" Target="/ppt/tags/tag936.xml" Id="rId12" /><Relationship Type="http://schemas.openxmlformats.org/officeDocument/2006/relationships/tags" Target="/ppt/tags/tag941.xml" Id="rId17" /><Relationship Type="http://schemas.openxmlformats.org/officeDocument/2006/relationships/notesSlide" Target="/ppt/notesSlides/notesSlide202.xml" Id="rId25" /><Relationship Type="http://schemas.openxmlformats.org/officeDocument/2006/relationships/tags" Target="/ppt/tags/tag926.xml" Id="rId2" /><Relationship Type="http://schemas.openxmlformats.org/officeDocument/2006/relationships/tags" Target="/ppt/tags/tag940.xml" Id="rId16" /><Relationship Type="http://schemas.openxmlformats.org/officeDocument/2006/relationships/tags" Target="/ppt/tags/tag944.xml" Id="rId20" /><Relationship Type="http://schemas.openxmlformats.org/officeDocument/2006/relationships/vmlDrawing" Target="/ppt/drawings/vmlDrawing206.vml" Id="rId1" /><Relationship Type="http://schemas.openxmlformats.org/officeDocument/2006/relationships/tags" Target="/ppt/tags/tag930.xml" Id="rId6" /><Relationship Type="http://schemas.openxmlformats.org/officeDocument/2006/relationships/tags" Target="/ppt/tags/tag935.xml" Id="rId11" /><Relationship Type="http://schemas.openxmlformats.org/officeDocument/2006/relationships/slideLayout" Target="/ppt/slideLayouts/slideLayout5.xml" Id="rId24" /><Relationship Type="http://schemas.openxmlformats.org/officeDocument/2006/relationships/tags" Target="/ppt/tags/tag929.xml" Id="rId5" /><Relationship Type="http://schemas.openxmlformats.org/officeDocument/2006/relationships/tags" Target="/ppt/tags/tag939.xml" Id="rId15" /><Relationship Type="http://schemas.openxmlformats.org/officeDocument/2006/relationships/tags" Target="/ppt/tags/tag947.xml" Id="rId23" /><Relationship Type="http://schemas.openxmlformats.org/officeDocument/2006/relationships/chart" Target="/ppt/charts/chart31.xml" Id="rId28" /><Relationship Type="http://schemas.openxmlformats.org/officeDocument/2006/relationships/tags" Target="/ppt/tags/tag934.xml" Id="rId10" /><Relationship Type="http://schemas.openxmlformats.org/officeDocument/2006/relationships/tags" Target="/ppt/tags/tag943.xml" Id="rId19" /><Relationship Type="http://schemas.openxmlformats.org/officeDocument/2006/relationships/tags" Target="/ppt/tags/tag928.xml" Id="rId4" /><Relationship Type="http://schemas.openxmlformats.org/officeDocument/2006/relationships/tags" Target="/ppt/tags/tag933.xml" Id="rId9" /><Relationship Type="http://schemas.openxmlformats.org/officeDocument/2006/relationships/tags" Target="/ppt/tags/tag938.xml" Id="rId14" /><Relationship Type="http://schemas.openxmlformats.org/officeDocument/2006/relationships/tags" Target="/ppt/tags/tag946.xml" Id="rId22" /><Relationship Type="http://schemas.openxmlformats.org/officeDocument/2006/relationships/image" Target="/ppt/media/image4.emf" Id="rId27" /></Relationships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782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3" name="think-cell 幻灯片" r:id="rId26" imgW="349" imgH="350" progId="TCLayout.ActiveDocument.1">
                  <p:embed/>
                </p:oleObj>
              </mc:Choice>
              <mc:Fallback>
                <p:oleObj name="think-cell 幻灯片" r:id="rId2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 series: Combination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8FE20FD-B84E-DFB4-8A59-2CB96687B10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5672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line, lines, column, columns, bar, bar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74A33909-2377-A9E0-E691-0E36C2774542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EFBBD661-1B72-6380-A1ED-9F2254AEC12A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" name="tc_columnhead">
              <a:extLst>
                <a:ext uri="{FF2B5EF4-FFF2-40B4-BE49-F238E27FC236}">
                  <a16:creationId xmlns:a16="http://schemas.microsoft.com/office/drawing/2014/main" id="{BD692CAA-56EC-A099-0FDC-32CAD4299FA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225E48D2-7FFA-F990-88A9-2E17B2A635BD}"/>
                </a:ext>
              </a:extLst>
            </p:cNvPr>
            <p:cNvCxnSpPr>
              <a:cxnSpLocks/>
              <a:stCxn id="7" idx="4"/>
              <a:endCxn id="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91A1612D-8F13-1AA6-19FE-9E7847BA856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1" name="tc_columnhead">
              <a:extLst>
                <a:ext uri="{FF2B5EF4-FFF2-40B4-BE49-F238E27FC236}">
                  <a16:creationId xmlns:a16="http://schemas.microsoft.com/office/drawing/2014/main" id="{11A497E9-2806-B977-8B92-1AC56B04F0B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2" name="tc_columnheadline">
              <a:extLst>
                <a:ext uri="{FF2B5EF4-FFF2-40B4-BE49-F238E27FC236}">
                  <a16:creationId xmlns:a16="http://schemas.microsoft.com/office/drawing/2014/main" id="{402D1D0C-55C3-1ECE-25A4-1ABE05A9DD63}"/>
                </a:ext>
              </a:extLst>
            </p:cNvPr>
            <p:cNvCxnSpPr>
              <a:cxnSpLocks/>
              <a:stCxn id="11" idx="4"/>
              <a:endCxn id="11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8">
            <a:extLst>
              <a:ext uri="{FF2B5EF4-FFF2-40B4-BE49-F238E27FC236}">
                <a16:creationId xmlns:a16="http://schemas.microsoft.com/office/drawing/2014/main" id="{F8948808-FE7A-7CCB-4CA3-BB50067C94DC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0FD6BF97-602D-4900-9F6C-6ED9797D521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6897079"/>
              </p:ext>
            </p:extLst>
          </p:nvPr>
        </p:nvGraphicFramePr>
        <p:xfrm>
          <a:off x="241300" y="2009775"/>
          <a:ext cx="8088313" cy="371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 useBgFill="1">
        <p:nvSpPr>
          <p:cNvPr id="16" name="任意多边形: 形状 15">
            <a:extLst>
              <a:ext uri="{FF2B5EF4-FFF2-40B4-BE49-F238E27FC236}">
                <a16:creationId xmlns:a16="http://schemas.microsoft.com/office/drawing/2014/main" id="{A64EA133-8978-4000-B453-B3594E93778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383338" y="2709863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 useBgFill="1">
        <p:nvSpPr>
          <p:cNvPr id="19" name="任意多边形: 形状 18">
            <a:extLst>
              <a:ext uri="{FF2B5EF4-FFF2-40B4-BE49-F238E27FC236}">
                <a16:creationId xmlns:a16="http://schemas.microsoft.com/office/drawing/2014/main" id="{8C014FE5-6E9F-459E-8777-49F8C0A6942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75400" y="53467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7874EA8D-2DBF-4AFA-8A59-583A30681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333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51F52FED-5971-4CD3-BF77-ACDB3491173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44048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CF318EF9-984A-4887-B488-B96CDB6B29A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37540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F7D9FE04-A436-474B-97B7-32724C700A6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43255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DC2992B-E3F6-423F-586F-988B411165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65125" y="1854200"/>
            <a:ext cx="739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Revenue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9334754-B58D-1F3F-E61E-5365736FDCF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354887" y="1854200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Units sold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8915B5E8-510F-F48A-AA87-91B3B4E5FAF5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063625" y="5478463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EFC063-F4CB-4AA7-B66D-17ABDDDA69F0}" type="datetime'2''''''''''''''0''''''''''''''2''''''''4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2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767503DC-D142-1E92-1EB1-DD40621C85B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919288" y="5478463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A66544-1C20-4C47-A68C-E5C9CADEB47A}" type="datetime'''''''''''''''''2''''''''''''''''''0''2''''''''5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2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9BB1F46B-F879-8B45-2635-B6F20F5C134E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774950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85409F4-1C43-4221-A65A-D987DA12BD5F}" type="datetime'''''''''''''2''0''''''''''''2''''''''''''''''''6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2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B0366748-3CD7-6572-5CB9-ED04FA39356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635375" y="5478463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EDE061-8388-4BA8-8BA5-F54857E94175}" type="datetime'''''''''''''2''''''''''02''''''''''''''7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2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73200FA-2032-88EE-A42A-8D310FFDE6F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481513" y="5478463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7C8FEE-0D34-4E3D-8FBE-E96350851032}" type="datetime'2''''02''''''''''''''''''''''''''''''''''''''8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2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9FBFEBD4-B539-31E5-5DFB-1578EFBF6D93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33876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89A390-54BF-4952-B663-4FCEAF834EF9}" type="datetime'''2''''''''''''''''''''''''''0''29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2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4577708-0057-4D1B-07BF-CF341F0508F2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04691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E9F7B3-6EAB-4FDB-BC24-D11535F74CE0}" type="datetime'''''''2''''''''''''''''''0''''''''''''3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3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30A3D1A-99B6-149E-6E0F-F2EA9D81FE83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3097213" y="5872163"/>
            <a:ext cx="3302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038C329-B8B3-C351-064F-17F4E7B2AB19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538663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ADA10C1-E4D9-E27A-0F00-1565E86358DE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3217863" y="5827713"/>
            <a:ext cx="88900" cy="889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27">
            <a:extLst>
              <a:ext uri="{FF2B5EF4-FFF2-40B4-BE49-F238E27FC236}">
                <a16:creationId xmlns:a16="http://schemas.microsoft.com/office/drawing/2014/main" id="{A2F7F674-3A89-B215-EFDD-DA1FBC424FA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3487737" y="5773738"/>
            <a:ext cx="8509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3802418-559F-4A19-A9F2-F6D91C32A67C}" type="datetime'''''''U''''n''''''it''''''s ''''''''''''so''''''l''''''d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Units sold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5" name="Rectangle 27">
            <a:extLst>
              <a:ext uri="{FF2B5EF4-FFF2-40B4-BE49-F238E27FC236}">
                <a16:creationId xmlns:a16="http://schemas.microsoft.com/office/drawing/2014/main" id="{D0996ADB-A090-5CA4-72A0-FDA08DAE478B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4840288" y="5773738"/>
            <a:ext cx="739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A37A428-C6FD-4D06-9E15-F9D9DBF8DC0E}" type="datetime'''''''''''R''''''''''''''e''''''''v''''''''e''''''''n''ue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Revenu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362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jUGdzCeSHegVe7yLWtU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5fN3mbMRHQ2TOoJjkgZ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S_LbTVvhy38xkRJyQGC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x14lPYn1pN2bhGa2ipf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Son95Lb0NJ4OKKQgTHf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h_.mVEjRAeL8IBUPIgF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JWeIohRyAmVU6oajpM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jPcteC_RDqZ5aTC3TkD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juWyCs_MUirfG0VjmzT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M6WmoGJa7321OxuJYM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HB5jYZCAEdQHkbAWwrl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TQxfS5kjlsiCwjdhA3B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1LyZ6YBTLHjd9dMSyT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LQTcXhFVj0sKrX3iau_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XBGxMFPOmUjrUScPohM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376IhuJrNXr0DNztT1_A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HwlZhoCwhGDQUYoPepsw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hLctojoeEaSR9ACoD9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.Wp8Z_G.kvLunZ360Jt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Tng1gym9tHcu7KcY79O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n1Z2sUB__Atq3.J_Sg_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